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6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31"/>
  </p:notesMasterIdLst>
  <p:handoutMasterIdLst>
    <p:handoutMasterId r:id="rId32"/>
  </p:handoutMasterIdLst>
  <p:sldIdLst>
    <p:sldId id="378" r:id="rId7"/>
    <p:sldId id="301" r:id="rId8"/>
    <p:sldId id="302" r:id="rId9"/>
    <p:sldId id="303" r:id="rId10"/>
    <p:sldId id="304" r:id="rId11"/>
    <p:sldId id="305" r:id="rId12"/>
    <p:sldId id="306" r:id="rId13"/>
    <p:sldId id="307" r:id="rId14"/>
    <p:sldId id="308" r:id="rId15"/>
    <p:sldId id="309" r:id="rId16"/>
    <p:sldId id="310" r:id="rId17"/>
    <p:sldId id="311" r:id="rId18"/>
    <p:sldId id="312" r:id="rId19"/>
    <p:sldId id="313" r:id="rId20"/>
    <p:sldId id="314" r:id="rId21"/>
    <p:sldId id="315" r:id="rId22"/>
    <p:sldId id="316" r:id="rId23"/>
    <p:sldId id="399" r:id="rId24"/>
    <p:sldId id="400" r:id="rId25"/>
    <p:sldId id="401" r:id="rId26"/>
    <p:sldId id="402" r:id="rId27"/>
    <p:sldId id="403" r:id="rId28"/>
    <p:sldId id="404" r:id="rId29"/>
    <p:sldId id="405" r:id="rId30"/>
  </p:sldIdLst>
  <p:sldSz cx="9144000" cy="6858000" type="screen4x3"/>
  <p:notesSz cx="7023100" cy="9309100"/>
  <p:custDataLst>
    <p:tags r:id="rId3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0" d="100"/>
          <a:sy n="110" d="100"/>
        </p:scale>
        <p:origin x="1638" y="96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1-25T17:19:54.448" idx="18">
    <p:pos x="5441" y="539"/>
    <p:text>Check Field of View/Vision,
Check thesis</p:text>
    <p:extLst>
      <p:ext uri="{C676402C-5697-4E1C-873F-D02D1690AC5C}">
        <p15:threadingInfo xmlns:p15="http://schemas.microsoft.com/office/powerpoint/2012/main" timeZoneBias="0"/>
      </p:ext>
    </p:extLst>
  </p:cm>
  <p:cm authorId="2" dt="2019-02-07T09:36:40.646" idx="33">
    <p:pos x="5441" y="635"/>
    <p:text>Done its ok</p:text>
    <p:extLst>
      <p:ext uri="{C676402C-5697-4E1C-873F-D02D1690AC5C}">
        <p15:threadingInfo xmlns:p15="http://schemas.microsoft.com/office/powerpoint/2012/main" timeZoneBias="-60">
          <p15:parentCm authorId="2" idx="18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02-12T14:48:25.778" idx="1">
    <p:pos x="10" y="10"/>
    <p:text>Test change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ill tell you nice introduction story for Obstacle avoidanc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315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Reach it and we are fine, </a:t>
            </a:r>
          </a:p>
          <a:p>
            <a:endParaRPr lang="en-US" dirty="0"/>
          </a:p>
          <a:p>
            <a:r>
              <a:rPr lang="en-US" dirty="0"/>
              <a:t>Evolving world challenge has been passes, </a:t>
            </a:r>
          </a:p>
          <a:p>
            <a:endParaRPr lang="en-US" dirty="0"/>
          </a:p>
          <a:p>
            <a:r>
              <a:rPr lang="en-US" dirty="0"/>
              <a:t>The Path was not as optimal as in case when we had a map, but we did it</a:t>
            </a:r>
          </a:p>
          <a:p>
            <a:endParaRPr lang="en-US" dirty="0"/>
          </a:p>
          <a:p>
            <a:r>
              <a:rPr lang="en-US" dirty="0"/>
              <a:t>Now lets make life harder agai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972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are not alone on streets nor in the Airspace.</a:t>
            </a:r>
          </a:p>
          <a:p>
            <a:endParaRPr lang="en-US" dirty="0"/>
          </a:p>
          <a:p>
            <a:r>
              <a:rPr lang="en-US" dirty="0"/>
              <a:t>There are Adversaries, people and Carriages, whom wants to take your sweet spot on the road.</a:t>
            </a:r>
          </a:p>
          <a:p>
            <a:endParaRPr lang="en-US" dirty="0"/>
          </a:p>
          <a:p>
            <a:r>
              <a:rPr lang="en-US" dirty="0"/>
              <a:t>You can use your cat like reflexes to avoid them, you just need to know:</a:t>
            </a:r>
          </a:p>
          <a:p>
            <a:pPr marL="228600" indent="-228600">
              <a:buAutoNum type="arabicPeriod"/>
            </a:pPr>
            <a:r>
              <a:rPr lang="en-US" dirty="0"/>
              <a:t>Their position and heading velocity</a:t>
            </a:r>
          </a:p>
          <a:p>
            <a:pPr marL="228600" indent="-228600">
              <a:buAutoNum type="arabicPeriod"/>
            </a:pPr>
            <a:r>
              <a:rPr lang="en-US" dirty="0"/>
              <a:t>Your own intentions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w lets make life even harder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074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bought a new map, which is not very precise, but still reliable,</a:t>
            </a:r>
          </a:p>
          <a:p>
            <a:endParaRPr lang="en-US" dirty="0"/>
          </a:p>
          <a:p>
            <a:r>
              <a:rPr lang="en-US" dirty="0"/>
              <a:t>You heard many rumors and much more stuff from officials, </a:t>
            </a:r>
          </a:p>
          <a:p>
            <a:endParaRPr lang="en-US" dirty="0"/>
          </a:p>
          <a:p>
            <a:r>
              <a:rPr lang="en-US" dirty="0"/>
              <a:t>You need to clean your head to make a right choice, what is true what is good,</a:t>
            </a:r>
          </a:p>
          <a:p>
            <a:endParaRPr lang="en-US" dirty="0"/>
          </a:p>
          <a:p>
            <a:r>
              <a:rPr lang="en-US" dirty="0"/>
              <a:t>Do not worry my friend Data Fusion is here to hel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798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pace which is occupied by various groups, </a:t>
            </a:r>
          </a:p>
          <a:p>
            <a:endParaRPr lang="en-US" dirty="0"/>
          </a:p>
          <a:p>
            <a:r>
              <a:rPr lang="en-US" dirty="0"/>
              <a:t>One are kind like Grannies, whom only tell your Grand mother that you get into Fine restaurant</a:t>
            </a:r>
          </a:p>
          <a:p>
            <a:endParaRPr lang="en-US" dirty="0"/>
          </a:p>
          <a:p>
            <a:r>
              <a:rPr lang="en-US" dirty="0"/>
              <a:t>Other are not so kind, like Vigilante Knights which will kill you on the spot (What did you expected from dark ages ?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3745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see the situation on the map, The occupied territory is marked for each group,</a:t>
            </a:r>
          </a:p>
          <a:p>
            <a:endParaRPr lang="en-US" dirty="0"/>
          </a:p>
          <a:p>
            <a:r>
              <a:rPr lang="en-US" dirty="0"/>
              <a:t>The large detour was taken to avid both of them.</a:t>
            </a:r>
          </a:p>
          <a:p>
            <a:endParaRPr lang="en-US" dirty="0"/>
          </a:p>
          <a:p>
            <a:r>
              <a:rPr lang="en-US" dirty="0"/>
              <a:t>Now every problem in Avoidance topic should be addressed right ?</a:t>
            </a:r>
          </a:p>
          <a:p>
            <a:endParaRPr lang="en-US" dirty="0"/>
          </a:p>
          <a:p>
            <a:r>
              <a:rPr lang="en-US" dirty="0"/>
              <a:t>How about weather 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2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ather is bad for our skin, so we try to avoid bad weather,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12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rk ages weather was very harsh and very localized, </a:t>
            </a:r>
          </a:p>
          <a:p>
            <a:endParaRPr lang="en-US" dirty="0"/>
          </a:p>
          <a:p>
            <a:r>
              <a:rPr lang="en-US" dirty="0"/>
              <a:t>We have </a:t>
            </a:r>
          </a:p>
          <a:p>
            <a:r>
              <a:rPr lang="en-US" dirty="0"/>
              <a:t>	snowstorm on the left</a:t>
            </a:r>
          </a:p>
          <a:p>
            <a:endParaRPr lang="en-US" dirty="0"/>
          </a:p>
          <a:p>
            <a:r>
              <a:rPr lang="en-US" dirty="0"/>
              <a:t>	Heatwave on the right</a:t>
            </a:r>
          </a:p>
          <a:p>
            <a:endParaRPr lang="en-US" dirty="0"/>
          </a:p>
          <a:p>
            <a:r>
              <a:rPr lang="en-US" dirty="0"/>
              <a:t>Do not worry Grannies and Vigilante is still there, so what now …</a:t>
            </a:r>
          </a:p>
          <a:p>
            <a:endParaRPr lang="en-US" dirty="0"/>
          </a:p>
          <a:p>
            <a:r>
              <a:rPr lang="en-US" dirty="0"/>
              <a:t>We need to break some restrictions and avoid harsher conditions …</a:t>
            </a:r>
          </a:p>
          <a:p>
            <a:endParaRPr lang="en-US" dirty="0"/>
          </a:p>
          <a:p>
            <a:r>
              <a:rPr lang="en-US" dirty="0"/>
              <a:t>There is one more thing to address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726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just need to stick to the rules, </a:t>
            </a:r>
          </a:p>
          <a:p>
            <a:endParaRPr lang="en-US" dirty="0"/>
          </a:p>
          <a:p>
            <a:r>
              <a:rPr lang="en-US" dirty="0"/>
              <a:t>Society Norm, traffic regulations, airspace rules and so on …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890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entleman want to get into the fine restaura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52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situation, Gentleman is at Home</a:t>
            </a:r>
          </a:p>
          <a:p>
            <a:r>
              <a:rPr lang="en-US" dirty="0"/>
              <a:t>Restaurant is near city cent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6704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h planning problem is introduced,</a:t>
            </a:r>
          </a:p>
          <a:p>
            <a:endParaRPr lang="en-US" dirty="0"/>
          </a:p>
          <a:p>
            <a:r>
              <a:rPr lang="en-US" dirty="0"/>
              <a:t>Plan and Execute a Path to Restaurant, </a:t>
            </a:r>
          </a:p>
          <a:p>
            <a:endParaRPr lang="en-US" dirty="0"/>
          </a:p>
          <a:p>
            <a:r>
              <a:rPr lang="en-US" dirty="0"/>
              <a:t>Really simple, nobody is on streets, I have precise and correct information and map,</a:t>
            </a:r>
          </a:p>
          <a:p>
            <a:endParaRPr lang="en-US" dirty="0"/>
          </a:p>
          <a:p>
            <a:r>
              <a:rPr lang="en-US" dirty="0"/>
              <a:t>Now lets make a life har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970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 challenge (problem), Map forgotten, </a:t>
            </a:r>
          </a:p>
          <a:p>
            <a:endParaRPr lang="en-US" dirty="0"/>
          </a:p>
          <a:p>
            <a:r>
              <a:rPr lang="en-US" dirty="0"/>
              <a:t>Possibilities to see all of situation are limited.</a:t>
            </a:r>
          </a:p>
          <a:p>
            <a:endParaRPr lang="en-US" dirty="0"/>
          </a:p>
          <a:p>
            <a:r>
              <a:rPr lang="en-US" dirty="0"/>
              <a:t>We still know where is GOAL of our Journey.</a:t>
            </a:r>
          </a:p>
          <a:p>
            <a:endParaRPr lang="en-US" dirty="0"/>
          </a:p>
          <a:p>
            <a:r>
              <a:rPr lang="en-US" dirty="0"/>
              <a:t>There Is a Evolving World Challenge,</a:t>
            </a:r>
          </a:p>
          <a:p>
            <a:endParaRPr lang="en-US" dirty="0"/>
          </a:p>
          <a:p>
            <a:r>
              <a:rPr lang="en-US" dirty="0"/>
              <a:t>Need to make decisions with limited sensory reading is inevitable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4245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to the end of charted territory,  at the DECISION POINT</a:t>
            </a:r>
          </a:p>
          <a:p>
            <a:endParaRPr lang="en-US" dirty="0"/>
          </a:p>
          <a:p>
            <a:r>
              <a:rPr lang="en-US" dirty="0"/>
              <a:t>Crossroad has three ways, </a:t>
            </a:r>
          </a:p>
          <a:p>
            <a:endParaRPr lang="en-US" dirty="0"/>
          </a:p>
          <a:p>
            <a:r>
              <a:rPr lang="en-US" dirty="0"/>
              <a:t>We chose one which gets us closest to our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857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new patch of the territory has been reveal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26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Rinse and Repeat,</a:t>
            </a:r>
          </a:p>
          <a:p>
            <a:endParaRPr lang="en-US" dirty="0"/>
          </a:p>
          <a:p>
            <a:r>
              <a:rPr lang="en-US" dirty="0"/>
              <a:t>Same as before we get to Decision Point,</a:t>
            </a:r>
          </a:p>
          <a:p>
            <a:endParaRPr lang="en-US" dirty="0"/>
          </a:p>
          <a:p>
            <a:r>
              <a:rPr lang="en-US" dirty="0"/>
              <a:t>Three ways lies ahead only one leads to Goa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510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 we take the right way,</a:t>
            </a:r>
          </a:p>
          <a:p>
            <a:endParaRPr lang="en-US" dirty="0"/>
          </a:p>
          <a:p>
            <a:r>
              <a:rPr lang="en-US" dirty="0"/>
              <a:t>We can see a Goal of our journey …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oneywell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F80455-CF11-4877-AD7A-70AE5CB739B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415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1.jp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0" r:link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hyperlink" Target="https://commons.wikimedia.org/wiki/File:Le_restaurant_V%C3%A9ry_-_ext.png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1497"/>
            <a:ext cx="9143999" cy="498475"/>
          </a:xfrm>
        </p:spPr>
        <p:txBody>
          <a:bodyPr/>
          <a:lstStyle/>
          <a:p>
            <a:r>
              <a:rPr lang="en-US" sz="3600" dirty="0">
                <a:latin typeface="Arial monospaced for SAP" panose="020B0609020202030204" pitchFamily="49" charset="0"/>
              </a:rPr>
              <a:t>Problems in Detect &amp; Avoid</a:t>
            </a:r>
            <a:r>
              <a:rPr lang="en-US" sz="3600" dirty="0"/>
              <a:t>:</a:t>
            </a: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Explained as a story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Incremental problem defini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1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joy a Pi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856420"/>
            <a:ext cx="5020442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EMI-Optimal navigation to GOAL</a:t>
            </a:r>
          </a:p>
          <a:p>
            <a:pPr marL="342900" indent="-342900"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ss optimal than [1]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4825963"/>
            <a:ext cx="2207818" cy="1021556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r destination is at the right side of the road</a:t>
            </a:r>
          </a:p>
        </p:txBody>
      </p:sp>
    </p:spTree>
    <p:extLst>
      <p:ext uri="{BB962C8B-B14F-4D97-AF65-F5344CB8AC3E}">
        <p14:creationId xmlns:p14="http://schemas.microsoft.com/office/powerpoint/2010/main" val="72013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NOT alone on the streets !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27588" y="1112623"/>
            <a:ext cx="3810000" cy="22860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11" name="Rectangle: Rounded Corners 10"/>
          <p:cNvSpPr/>
          <p:nvPr/>
        </p:nvSpPr>
        <p:spPr>
          <a:xfrm>
            <a:off x="530352" y="1108727"/>
            <a:ext cx="3912859" cy="2247424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need to avoid: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arriages and Other peopl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hurt others !</a:t>
            </a:r>
          </a:p>
        </p:txBody>
      </p:sp>
      <p:sp>
        <p:nvSpPr>
          <p:cNvPr id="13" name="Rectangle: Rounded Corners 12"/>
          <p:cNvSpPr/>
          <p:nvPr/>
        </p:nvSpPr>
        <p:spPr>
          <a:xfrm>
            <a:off x="4827589" y="3654826"/>
            <a:ext cx="3912859" cy="2553891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Adversarial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tive obstacle avoidance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gredie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Posi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truder Velocity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wn position and velo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2" y="3654828"/>
            <a:ext cx="3912859" cy="2781798"/>
          </a:xfrm>
          <a:prstGeom prst="rect">
            <a:avLst/>
          </a:prstGeom>
        </p:spPr>
      </p:pic>
      <p:pic>
        <p:nvPicPr>
          <p:cNvPr id="20482" name="Picture 2" descr="VÃ½sledok vyhÄ¾adÃ¡vania obrÃ¡zkov pre dopyt street crowd old time london drawi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9" t="43680" r="42116"/>
          <a:stretch/>
        </p:blipFill>
        <p:spPr bwMode="auto">
          <a:xfrm>
            <a:off x="4827589" y="959754"/>
            <a:ext cx="3810000" cy="243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source of information – Data F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5" name="AutoShape 2" descr="Výsledok vyhľadávania obrázkov pre dopyt man with map"/>
          <p:cNvSpPr>
            <a:spLocks noChangeAspect="1" noChangeArrowheads="1"/>
          </p:cNvSpPr>
          <p:nvPr/>
        </p:nvSpPr>
        <p:spPr bwMode="auto">
          <a:xfrm>
            <a:off x="9495606" y="427407"/>
            <a:ext cx="116768" cy="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1019114"/>
            <a:ext cx="4415134" cy="2860358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uch Inform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 many Whispers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ed Validation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ch Verification …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076007" y="3757677"/>
            <a:ext cx="3561582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Data Fusion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 under uncertainty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ermine what is trut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sider all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ank your sources wort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6023" r="34504" b="50150"/>
          <a:stretch/>
        </p:blipFill>
        <p:spPr>
          <a:xfrm>
            <a:off x="1275939" y="3910910"/>
            <a:ext cx="2733353" cy="22971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007" y="1193482"/>
            <a:ext cx="3503053" cy="25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5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gilantes &amp; Grannies – Static restriction a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973303"/>
            <a:ext cx="3721406" cy="1940957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Vigilantes will kill you …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annies will tell your grandmother ….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4531587" y="3729110"/>
            <a:ext cx="4047473" cy="22474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3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can break it, but you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ill pay </a:t>
            </a: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RRIBLE PRICE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ry to avoid all restricted areas</a:t>
            </a:r>
          </a:p>
        </p:txBody>
      </p:sp>
      <p:pic>
        <p:nvPicPr>
          <p:cNvPr id="17414" name="Picture 6" descr="VÃ½sledok vyhÄ¾adÃ¡vania obrÃ¡zkov pre dopyt old ladies draw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80" y="3138854"/>
            <a:ext cx="3450087" cy="32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VÃ½sledok vyhÄ¾adÃ¡vania obrÃ¡zkov pre dopyt knights draw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241" y="973301"/>
            <a:ext cx="3733905" cy="231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to avoid static restrictions areas !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434820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85730"/>
            <a:ext cx="2634880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5] Static restriction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void them all !</a:t>
            </a:r>
          </a:p>
        </p:txBody>
      </p:sp>
    </p:spTree>
    <p:extLst>
      <p:ext uri="{BB962C8B-B14F-4D97-AF65-F5344CB8AC3E}">
        <p14:creationId xmlns:p14="http://schemas.microsoft.com/office/powerpoint/2010/main" val="11855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weather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19458" name="Picture 2" descr="https://i.pinimg.com/originals/6a/09/71/6a0971ba5097dd9af83d03f497032bd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92" y="3026147"/>
            <a:ext cx="4018208" cy="301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Výsledok vyhľadávania obrázkov pre dopyt frozen tre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4" y="1190882"/>
            <a:ext cx="3897555" cy="2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/>
          <p:cNvSpPr/>
          <p:nvPr/>
        </p:nvSpPr>
        <p:spPr>
          <a:xfrm>
            <a:off x="530352" y="1223127"/>
            <a:ext cx="4025348" cy="1634490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winter very harsh,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the other hand,</a:t>
            </a:r>
          </a:p>
          <a:p>
            <a:pPr algn="ctr"/>
            <a:r>
              <a:rPr lang="sk-SK" b="1" dirty="0" err="1">
                <a:solidFill>
                  <a:schemeClr val="bg1"/>
                </a:solidFill>
              </a:rPr>
              <a:t>Östlichesburg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summer  even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er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681504" y="4152804"/>
            <a:ext cx="4230676" cy="1940957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sh Weather Avoid NOW !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aybe you will need to break some restrictions</a:t>
            </a:r>
          </a:p>
        </p:txBody>
      </p:sp>
    </p:spTree>
    <p:extLst>
      <p:ext uri="{BB962C8B-B14F-4D97-AF65-F5344CB8AC3E}">
        <p14:creationId xmlns:p14="http://schemas.microsoft.com/office/powerpoint/2010/main" val="220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her get caught, than catching cold 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9" name="Rectangle: Rounded Corners 8"/>
          <p:cNvSpPr/>
          <p:nvPr/>
        </p:nvSpPr>
        <p:spPr>
          <a:xfrm>
            <a:off x="5407309" y="3068806"/>
            <a:ext cx="3230279" cy="3200043"/>
          </a:xfrm>
          <a:prstGeom prst="roundRect">
            <a:avLst>
              <a:gd name="adj" fmla="val 4763"/>
            </a:avLst>
          </a:prstGeom>
          <a:solidFill>
            <a:schemeClr val="accent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twave</a:t>
            </a:r>
          </a:p>
        </p:txBody>
      </p:sp>
      <p:sp>
        <p:nvSpPr>
          <p:cNvPr id="6" name="Oval 5"/>
          <p:cNvSpPr/>
          <p:nvPr/>
        </p:nvSpPr>
        <p:spPr>
          <a:xfrm>
            <a:off x="4583970" y="2921556"/>
            <a:ext cx="4053618" cy="207740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Vigilante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2262551"/>
            <a:ext cx="3230279" cy="4047113"/>
          </a:xfrm>
          <a:prstGeom prst="roundRect">
            <a:avLst>
              <a:gd name="adj" fmla="val 4763"/>
            </a:avLst>
          </a:prstGeom>
          <a:solidFill>
            <a:schemeClr val="accent3">
              <a:lumMod val="5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nowstorm</a:t>
            </a: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>
            <a:off x="1339403" y="4087602"/>
            <a:ext cx="3837904" cy="129837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Grannies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530352" y="839106"/>
            <a:ext cx="638560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4] Weather:</a:t>
            </a: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ou will avoid Snowstorm, 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ut you will answer to Grandmother call …</a:t>
            </a:r>
          </a:p>
        </p:txBody>
      </p:sp>
      <p:pic>
        <p:nvPicPr>
          <p:cNvPr id="13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2" t="8636" r="29501" b="74755"/>
          <a:stretch/>
        </p:blipFill>
        <p:spPr bwMode="auto">
          <a:xfrm>
            <a:off x="708571" y="3068806"/>
            <a:ext cx="973517" cy="6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1797089" y="2812841"/>
            <a:ext cx="2207818" cy="715089"/>
          </a:xfrm>
          <a:prstGeom prst="wedgeRoundRectCallout">
            <a:avLst>
              <a:gd name="adj1" fmla="val -65733"/>
              <a:gd name="adj2" fmla="val 3683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will explain somehow…</a:t>
            </a:r>
          </a:p>
        </p:txBody>
      </p:sp>
    </p:spTree>
    <p:extLst>
      <p:ext uri="{BB962C8B-B14F-4D97-AF65-F5344CB8AC3E}">
        <p14:creationId xmlns:p14="http://schemas.microsoft.com/office/powerpoint/2010/main" val="15812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rule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0352" y="1376361"/>
            <a:ext cx="3202388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bey rules while walking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530352" y="2872979"/>
            <a:ext cx="3202388" cy="3166824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5] Rules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ick to Written and unwritten rules …</a:t>
            </a:r>
          </a:p>
          <a:p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ecessity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or integration into traffic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ciety,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ir space</a:t>
            </a:r>
          </a:p>
        </p:txBody>
      </p:sp>
      <p:pic>
        <p:nvPicPr>
          <p:cNvPr id="16386" name="Picture 2" descr="VÃ½sledok vyhÄ¾adÃ¡vania obrÃ¡zkov pre dopyt musketeer duel drawi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4"/>
          <a:stretch/>
        </p:blipFill>
        <p:spPr bwMode="auto">
          <a:xfrm>
            <a:off x="4009291" y="856420"/>
            <a:ext cx="4747847" cy="543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specification                        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UAS is operating in space </a:t>
            </a:r>
            <a:r>
              <a:rPr lang="en-US" i="1" u="sng" dirty="0"/>
              <a:t>classified into four distinctive subset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space classification is coming from </a:t>
            </a:r>
            <a:r>
              <a:rPr lang="en-US" i="1" u="sng" dirty="0"/>
              <a:t>data fusion procedure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7E2D92-9DEC-404B-A8C4-F1E79F0909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22476" y="1741980"/>
            <a:ext cx="8899047" cy="556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7B3929-7EB3-4FD7-9F53-126780D72C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76890" y="2701137"/>
            <a:ext cx="8313904" cy="333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 problem </a:t>
            </a:r>
            <a:r>
              <a:rPr lang="en-US"/>
              <a:t>specification                        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AS will fly a </a:t>
            </a:r>
            <a:r>
              <a:rPr lang="en-US" b="1" i="1" u="sng" dirty="0"/>
              <a:t>Mission</a:t>
            </a:r>
            <a:r>
              <a:rPr lang="en-US" dirty="0"/>
              <a:t> given as ordered set of waypoint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goal is to have </a:t>
            </a:r>
            <a:r>
              <a:rPr lang="en-US" b="1" i="1" u="sng" dirty="0"/>
              <a:t>path</a:t>
            </a:r>
            <a:r>
              <a:rPr lang="en-US" dirty="0"/>
              <a:t> satisfying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Under the </a:t>
            </a:r>
            <a:r>
              <a:rPr lang="en-US" b="1" i="1" u="sng" dirty="0"/>
              <a:t>assumptions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ltered sensor reading are avail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re are no moving obstacles (intruders)  				[Relaxed P3]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ovement takes place in unrestricted airspace		[Relaxed P5]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mission consist of a set of reachable waypoints		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UAS is moving with constant velocity					[Relaxed P5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693D87-6F07-4264-B3A7-C63AFC0B53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58367" y="1633860"/>
            <a:ext cx="8394666" cy="10361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462551-B07F-4EF8-8589-29DC77AE479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47238" y="3210171"/>
            <a:ext cx="8449523" cy="63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15362" name="Picture 2" descr="File:Le restaurant VÃ©ry - ex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51" y="70037"/>
            <a:ext cx="3584448" cy="533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1351" y="6011971"/>
            <a:ext cx="442300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/>
              <a:t>[1]</a:t>
            </a:r>
            <a:r>
              <a:rPr lang="en-US" sz="500" dirty="0">
                <a:hlinkClick r:id="rId4"/>
              </a:rPr>
              <a:t>https://commons.wikimedia.org/wiki/File:Le_restaurant_V%C3%A9ry_-_ext.png</a:t>
            </a:r>
            <a:endParaRPr lang="en-US" sz="500" dirty="0"/>
          </a:p>
          <a:p>
            <a:r>
              <a:rPr lang="en-US" sz="500" dirty="0"/>
              <a:t>[2]https://commons.wikimedia.org/wiki/File:A_gentleman,_walking_towards_the_left_and_drawing_his_sword_from_the_sheath,_wearing_a_plumed_hat_and_boots_with_spurs_MET_DP829192.jpg</a:t>
            </a:r>
          </a:p>
        </p:txBody>
      </p:sp>
      <p:pic>
        <p:nvPicPr>
          <p:cNvPr id="15364" name="Picture 4" descr="File:A gentleman, walking towards the left and drawing his sword from the sheath, wearing a plumed hat and boots with spurs MET DP829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19" y="70037"/>
            <a:ext cx="2696997" cy="407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597445" y="4329787"/>
            <a:ext cx="546816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ow this gentleman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gets </a:t>
            </a:r>
          </a:p>
          <a:p>
            <a:pPr algn="ctr"/>
            <a:r>
              <a:rPr 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to the Fine Restaurant</a:t>
            </a:r>
            <a:endParaRPr lang="en-US" sz="36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0131" y="815407"/>
            <a:ext cx="81945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-</a:t>
            </a:r>
          </a:p>
        </p:txBody>
      </p:sp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to the fine restauran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1210757"/>
            <a:ext cx="8341086" cy="515011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7225910" y="1235551"/>
            <a:ext cx="914400" cy="408623"/>
          </a:xfrm>
          <a:prstGeom prst="wedgeRoundRectCallout">
            <a:avLst>
              <a:gd name="adj1" fmla="val 76350"/>
              <a:gd name="adj2" fmla="val -138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ome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842477" y="4930467"/>
            <a:ext cx="1467805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taurant</a:t>
            </a:r>
          </a:p>
        </p:txBody>
      </p:sp>
      <p:sp>
        <p:nvSpPr>
          <p:cNvPr id="3" name="Scroll: Horizontal 2"/>
          <p:cNvSpPr/>
          <p:nvPr/>
        </p:nvSpPr>
        <p:spPr>
          <a:xfrm>
            <a:off x="530352" y="1235551"/>
            <a:ext cx="2121408" cy="858857"/>
          </a:xfrm>
          <a:prstGeom prst="horizontalScroll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k-SK" dirty="0" err="1">
                <a:solidFill>
                  <a:schemeClr val="bg1"/>
                </a:solidFill>
              </a:rPr>
              <a:t>Östlichesburg</a:t>
            </a:r>
            <a:endParaRPr lang="sk-SK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~ </a:t>
            </a:r>
            <a:r>
              <a:rPr lang="sk-SK" dirty="0">
                <a:solidFill>
                  <a:schemeClr val="bg1"/>
                </a:solidFill>
              </a:rPr>
              <a:t>1269</a:t>
            </a:r>
            <a:r>
              <a:rPr lang="en-US" dirty="0">
                <a:solidFill>
                  <a:schemeClr val="bg1"/>
                </a:solidFill>
              </a:rPr>
              <a:t> AD</a:t>
            </a:r>
          </a:p>
        </p:txBody>
      </p:sp>
    </p:spTree>
    <p:extLst>
      <p:ext uri="{BB962C8B-B14F-4D97-AF65-F5344CB8AC3E}">
        <p14:creationId xmlns:p14="http://schemas.microsoft.com/office/powerpoint/2010/main" val="8538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problem, I know a map of my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359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Rectangle: Rounded Corners 5"/>
          <p:cNvSpPr/>
          <p:nvPr/>
        </p:nvSpPr>
        <p:spPr>
          <a:xfrm>
            <a:off x="536792" y="856418"/>
            <a:ext cx="4782183" cy="13280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Path planning problem:</a:t>
            </a:r>
          </a:p>
          <a:p>
            <a:pPr algn="ctr"/>
            <a:endParaRPr lang="en-US" b="1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Get MAP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PLAN then EXECUTE the PATH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accent3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2833352" y="3012528"/>
            <a:ext cx="2207818" cy="715089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to  restaurant</a:t>
            </a:r>
          </a:p>
        </p:txBody>
      </p:sp>
    </p:spTree>
    <p:extLst>
      <p:ext uri="{BB962C8B-B14F-4D97-AF65-F5344CB8AC3E}">
        <p14:creationId xmlns:p14="http://schemas.microsoft.com/office/powerpoint/2010/main" val="383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et your map, know the restaurant locat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3807068" y="2012322"/>
            <a:ext cx="1805601" cy="408623"/>
          </a:xfrm>
          <a:prstGeom prst="wedgeRoundRectCallout">
            <a:avLst>
              <a:gd name="adj1" fmla="val 70218"/>
              <a:gd name="adj2" fmla="val 20266"/>
              <a:gd name="adj3" fmla="val 16667"/>
            </a:avLst>
          </a:prstGeom>
          <a:solidFill>
            <a:schemeClr val="bg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ield of Vision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152292" y="938456"/>
            <a:ext cx="1623856" cy="408623"/>
          </a:xfrm>
          <a:prstGeom prst="wedgeRoundRectCallout">
            <a:avLst>
              <a:gd name="adj1" fmla="val 134852"/>
              <a:gd name="adj2" fmla="val -7470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y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530352" y="888612"/>
            <a:ext cx="4012834" cy="102155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[P1] Evolving world: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Obtaining knowledge over time</a:t>
            </a:r>
          </a:p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</a:t>
            </a:r>
            <a:r>
              <a:rPr lang="en-US" b="1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tinous</a:t>
            </a:r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42701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get to the first intersection, now what 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5009882" y="1856022"/>
            <a:ext cx="914400" cy="408623"/>
          </a:xfrm>
          <a:prstGeom prst="wedgeRoundRectCallout">
            <a:avLst>
              <a:gd name="adj1" fmla="val 69308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009882" y="1356220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5954334" y="947597"/>
            <a:ext cx="914400" cy="408623"/>
          </a:xfrm>
          <a:prstGeom prst="wedgeRoundRectCallout">
            <a:avLst>
              <a:gd name="adj1" fmla="val 66491"/>
              <a:gd name="adj2" fmla="val 213785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3420250" y="2457744"/>
            <a:ext cx="2207818" cy="408623"/>
          </a:xfrm>
          <a:prstGeom prst="wedgeRoundRectCallout">
            <a:avLst>
              <a:gd name="adj1" fmla="val 85350"/>
              <a:gd name="adj2" fmla="val -7302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6429770" y="3116268"/>
            <a:ext cx="2207818" cy="408623"/>
          </a:xfrm>
          <a:prstGeom prst="wedgeRoundRectCallout">
            <a:avLst>
              <a:gd name="adj1" fmla="val -21983"/>
              <a:gd name="adj2" fmla="val -85633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86265"/>
            <a:ext cx="2160094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: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3" name="Speech Bubble: Rectangle with Corners Rounded 12"/>
          <p:cNvSpPr/>
          <p:nvPr/>
        </p:nvSpPr>
        <p:spPr>
          <a:xfrm>
            <a:off x="5862349" y="5086629"/>
            <a:ext cx="2775239" cy="1021556"/>
          </a:xfrm>
          <a:prstGeom prst="wedgeRoundRectCallout">
            <a:avLst>
              <a:gd name="adj1" fmla="val -88650"/>
              <a:gd name="adj2" fmla="val -27641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pply COST Functio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n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s</a:t>
            </a:r>
          </a:p>
        </p:txBody>
      </p:sp>
    </p:spTree>
    <p:extLst>
      <p:ext uri="{BB962C8B-B14F-4D97-AF65-F5344CB8AC3E}">
        <p14:creationId xmlns:p14="http://schemas.microsoft.com/office/powerpoint/2010/main" val="227754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 around, get know to your surrounding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31022" y="1540156"/>
            <a:ext cx="3455377" cy="408623"/>
          </a:xfrm>
          <a:prstGeom prst="wedgeRoundRectCallout">
            <a:avLst>
              <a:gd name="adj1" fmla="val 64639"/>
              <a:gd name="adj2" fmla="val 174852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PATH can get me Closer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34085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k a little more, get closer to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292440" y="3973747"/>
            <a:ext cx="914400" cy="408623"/>
          </a:xfrm>
          <a:prstGeom prst="wedgeRoundRectCallout">
            <a:avLst>
              <a:gd name="adj1" fmla="val 122829"/>
              <a:gd name="adj2" fmla="val -22598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1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2292440" y="3292631"/>
            <a:ext cx="914400" cy="408623"/>
          </a:xfrm>
          <a:prstGeom prst="wedgeRoundRectCallout">
            <a:avLst>
              <a:gd name="adj1" fmla="val 84801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2</a:t>
            </a:r>
          </a:p>
        </p:txBody>
      </p:sp>
      <p:sp>
        <p:nvSpPr>
          <p:cNvPr id="8" name="Speech Bubble: Rectangle with Corners Rounded 7"/>
          <p:cNvSpPr/>
          <p:nvPr/>
        </p:nvSpPr>
        <p:spPr>
          <a:xfrm>
            <a:off x="2863232" y="2640472"/>
            <a:ext cx="914400" cy="408623"/>
          </a:xfrm>
          <a:prstGeom prst="wedgeRoundRectCallout">
            <a:avLst>
              <a:gd name="adj1" fmla="val 34097"/>
              <a:gd name="adj2" fmla="val 87714"/>
              <a:gd name="adj3" fmla="val 16667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ay 3</a:t>
            </a:r>
          </a:p>
        </p:txBody>
      </p:sp>
      <p:sp>
        <p:nvSpPr>
          <p:cNvPr id="9" name="Speech Bubble: Rectangle with Corners Rounded 8"/>
          <p:cNvSpPr/>
          <p:nvPr/>
        </p:nvSpPr>
        <p:spPr>
          <a:xfrm>
            <a:off x="1326524" y="5110472"/>
            <a:ext cx="2207818" cy="408623"/>
          </a:xfrm>
          <a:prstGeom prst="wedgeRoundRectCallout">
            <a:avLst>
              <a:gd name="adj1" fmla="val 85350"/>
              <a:gd name="adj2" fmla="val 8920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10" name="Speech Bubble: Rectangle with Corners Rounded 9"/>
          <p:cNvSpPr/>
          <p:nvPr/>
        </p:nvSpPr>
        <p:spPr>
          <a:xfrm>
            <a:off x="5628068" y="3709946"/>
            <a:ext cx="2207818" cy="408623"/>
          </a:xfrm>
          <a:prstGeom prst="wedgeRoundRectCallout">
            <a:avLst>
              <a:gd name="adj1" fmla="val -130482"/>
              <a:gd name="adj2" fmla="val -16294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cision point</a:t>
            </a:r>
          </a:p>
        </p:txBody>
      </p:sp>
      <p:sp>
        <p:nvSpPr>
          <p:cNvPr id="11" name="Speech Bubble: Rectangle with Corners Rounded 10"/>
          <p:cNvSpPr/>
          <p:nvPr/>
        </p:nvSpPr>
        <p:spPr>
          <a:xfrm>
            <a:off x="5628068" y="3101666"/>
            <a:ext cx="2207818" cy="408623"/>
          </a:xfrm>
          <a:prstGeom prst="wedgeRoundRectCallout">
            <a:avLst>
              <a:gd name="adj1" fmla="val -63400"/>
              <a:gd name="adj2" fmla="val -113605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ssed trajectory</a:t>
            </a:r>
          </a:p>
        </p:txBody>
      </p:sp>
      <p:sp>
        <p:nvSpPr>
          <p:cNvPr id="12" name="Rectangle: Rounded Corners 11"/>
          <p:cNvSpPr/>
          <p:nvPr/>
        </p:nvSpPr>
        <p:spPr>
          <a:xfrm>
            <a:off x="530352" y="856420"/>
            <a:ext cx="2124925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inse and repeat </a:t>
            </a:r>
          </a:p>
        </p:txBody>
      </p:sp>
    </p:spTree>
    <p:extLst>
      <p:ext uri="{BB962C8B-B14F-4D97-AF65-F5344CB8AC3E}">
        <p14:creationId xmlns:p14="http://schemas.microsoft.com/office/powerpoint/2010/main" val="26942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Gentleman can see the Restaura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30352" y="856419"/>
            <a:ext cx="8107236" cy="54281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Speech Bubble: Rectangle with Corners Rounded 5"/>
          <p:cNvSpPr/>
          <p:nvPr/>
        </p:nvSpPr>
        <p:spPr>
          <a:xfrm>
            <a:off x="2047874" y="5336740"/>
            <a:ext cx="2133037" cy="715089"/>
          </a:xfrm>
          <a:prstGeom prst="wedgeRoundRectCallout">
            <a:avLst>
              <a:gd name="adj1" fmla="val 58592"/>
              <a:gd name="adj2" fmla="val -47543"/>
              <a:gd name="adj3" fmla="val 16667"/>
            </a:avLst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I can see the way </a:t>
            </a:r>
          </a:p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the Restaurant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705341" y="5132429"/>
            <a:ext cx="2207818" cy="408623"/>
          </a:xfrm>
          <a:prstGeom prst="wedgeRoundRectCallout">
            <a:avLst>
              <a:gd name="adj1" fmla="val -101899"/>
              <a:gd name="adj2" fmla="val 2616"/>
              <a:gd name="adj3" fmla="val 16667"/>
            </a:avLst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OAL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530352" y="856418"/>
            <a:ext cx="3927348" cy="408623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ET to the Restaurant</a:t>
            </a:r>
            <a:endParaRPr lang="en-US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31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9.9362"/>
  <p:tag name="ORIGINALWIDTH" val="4131.23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5}&#10; \begin{equation}\label{eq:missionAbstractSet}&#10;        Mission = \left\{&#10;        \begin{aligned}&#10;            &amp;waypoint_1, waypoint_2, \dots,waypoint_m:\\&#10;            &amp;\forall_{i=1\dots m} waypoint_i \in  Space&#10;        \end{aligned}&#10;        \right\}, \quad m\in\N^{+},m\ge2&#10;    \end{equation}&#10;&#10;&#10;&#10;\end{document}"/>
  <p:tag name="IGUANATEXSIZE" val="20"/>
  <p:tag name="IGUANATEXCURSOR" val="3773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.4612"/>
  <p:tag name="ORIGINALWIDTH" val="4158.23"/>
  <p:tag name="LATEXADDIN" val="\documentclass[a4paper, margin=1in]{report}&#10;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&#10; \setcounter{chapter}{4}&#10; \setcounter{equation}{20}&#10; \begin{multline}\label{eq:safetyMarginAbstract}&#10;        \forall t\in [missionStart,missionEnd]:\\distance(x(t),Occupied(t),t) \ge safetyMargin&#10;    \end{multline}&#10;&#10;&#10;&#10;\end{document}"/>
  <p:tag name="IGUANATEXSIZE" val="20"/>
  <p:tag name="IGUANATEXCURSOR" val="364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3.7158"/>
  <p:tag name="ORIGINALWIDTH" val="4379.453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9}&#10;\begin{equation}\label{eq:spaceCassificationFunction}&#10;        SpaceClassification: y \in \emph{Space} \mapsto s \in \{Free, Restricted, Occupied, Uncertain \}&#10;    \end{equation}&#10;&#10;&#10;&#10;\end{document}"/>
  <p:tag name="IGUANATEXSIZE" val="20"/>
  <p:tag name="IGUANATEXCURSOR" val="3635"/>
  <p:tag name="TRANSPARENCY" val="True"/>
  <p:tag name="FILENAME" val=""/>
  <p:tag name="LATEXENGINEID" val="0"/>
  <p:tag name="TEMPFOLDER" val="D:\Latex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.045"/>
  <p:tag name="ORIGINALWIDTH" val="4091.489"/>
  <p:tag name="LATEXADDIN" val="\documentclass{report}&#10;\usepackage{amsmath}&#10;\usepackage{array}&#10;\usepackage{amsmath}  &#10;\usepackage{amssymb}&#10;\usepackage{amsfonts}&#10;\DeclareFontFamily{OT1}{pzc}{}&#10;\DeclareFontShape{OT1}{pzc}{m}{it}{&lt;-&gt; s * [0.900] pzcmi7t}{}&#10;\DeclareMathAlphabet{\mathpzc}{OT1}{pzc}{m}{it}&#10;\usepackage{amsthm}      &#10;\usepackage{algorithm2e}&#10;\usepackage{algorithmic}&#10;\usepackage{bm}&#10;\usepackage[mathscr]{euscript}&#10;\usepackage{graphicx}       &#10;\usepackage{psfrag}         &#10;\usepackage{fancyvrb}    &#10;\usepackage{float}&#10;\usepackage{ltablex}&#10;\usepackage[square,sort,comma,numbers]{natbib}        &#10;\usepackage{bbding}         &#10;\usepackage{dcolumn}        &#10;\usepackage{booktabs} &#10;\usepackage{multirow}&#10;\usepackage{paralist}     &#10;\usepackage{ifdraft}  &#10;\usepackage{indentfirst}    &#10;\usepackage[nottoc,notlof,notlot]{tocbibind}&#10;\usepackage{url}&#10;\usepackage{tabularx}&#10;\usepackage{subcaption}&#10;\usepackage[unicode]{hyperref}&#10;\usepackage{xcolor}&#10;&#10;\hypersetup{pdftitle=LiDAR obstacle detection and avoidance, &#10;            pdfauthor=Alojz Gomola,&#10;            colorlinks=false,&#10;            urlcolor=blue,&#10;            pdfstartview=FitH,&#10;            pdfpagemode=UseOutlines,&#10;            pdfnewwindow,&#10;            breaklinks&#10;          }&#10;\usepackage{array}&#10;\newcolumntype{L}[1]{&gt;{\raggedright\let\newline\\\arraybackslash\hspace{0pt}}m{#1}}&#10;\newcolumntype{C}[1]{&gt;{\centering\let\newline\\\arraybackslash\hspace{0pt}}m{#1}}&#10;\newcolumntype{R}[1]{&gt;{\raggedleft\let\newline\\\arraybackslash\hspace{0pt}}m{#1}}         &#10;\newcolumntype{B}{X}&#10;\newcolumntype{S}[1]{&gt;{\hsize=#1\textwidth}X}&#10;&#10;\newcommand{\FIGDIR}{./Pics}    %%% directory containing figures&#10;\newcommand{\twolinecellr}[2][r]{%&#10;  \begin{tabular}[#1]{@{}r@{}}#2\end{tabular}}&#10;\newcommand{\secState}[1]{&#10; \ifdraft{(#1) }{}&#10;}&#10;\theoremstyle{plain}&#10;\newtheorem{theorem}{Theorem}&#10;\newtheorem{lemma}[theorem]{Lemma}&#10;\newtheorem{proposition}[theorem]{Proposition}&#10;&#10;\theoremstyle{plain}&#10;\newtheorem{definition}{Definition}&#10;\newtheorem{problem}{Problem}&#10;\newtheorem{example}{Example}&#10;\newtheorem{assumption}{Assumption}&#10;&#10;\theoremstyle{remark}&#10;\newtheorem*{corollary}{Corollary}&#10;\newtheorem*{note}{Note}&#10;&#10;&#10;&#10;&#10;\newenvironment{dokaz}{&#10;  \par\medskip\noindent&#10;  \textit{Proof}.&#10;}{&#10;\newline&#10;\rightline{\SquareCastShadowBottomRight}&#10;}&#10;&#10;\newenvironment{constraints}[1]{&#10;  \par\medskip\noindent&#10;  \textit{Constraints #1} \\&#10;}{&#10;\newline&#10;\rightline{\SquareCastShadowBottomRight}&#10;}&#10;&#10;&#10;%\bibliographystyle{plainnat}     %% Author (year) style&#10;\bibliographystyle{unsrt}        %% [number] style&#10;\setcitestyle{square}&#10;&#10;% Section  3.7 Challenge list&#10;\newif\ifproblemchallenge   %# Build block for problem challenges&#10;\problemchallengetrue       %# Show comments&#10;&#10;\newcommand{\R}{\mathbb{R}}&#10;\newcommand{\N}{\mathbb{N}}&#10;&#10;\DeclareMathOperator{\pr}{\textsf{P}}&#10;\DeclareMathOperator{\E}{\textsf{E}\,}&#10;\DeclareMathOperator{\var}{\textrm{var}}&#10;\DeclareMathOperator{\sd}{\textrm{sd}}&#10;&#10;&#10;\newcommand{\T}[1]{#1^\top}        &#10;&#10;\newcommand{\goto}{\rightarrow}&#10;\newcommand{\gotop}{\stackrel{P}{\longrightarrow}}&#10;\newcommand{\maon}[1]{o(n^{#1})}&#10;\newcommand{\abs}[1]{\left|{#1}\right|}&#10;\newcommand{\dint}{\int_0^\tau\!\!\int_0^\tau}&#10;\newcommand{\isqr}[1]{\frac{1}{\sqrt{#1}}}&#10;\newcommand{\norm}[1]{\left\lVert#1\right\rVert}&#10;\newcommand{\pulrad}[1]{\raisebox{1.5ex}[0pt]{#1}}&#10;\newcommand{\mc}[1]{\multicolumn{1}{c}{#1}}&#10;\newcommand{\TBD}[1]{\color{red}\emph{--TBD:}#1\color{black}}&#10;\pagestyle{empty}&#10;\begin{document}&#10;\setcounter{chapter}{4}&#10; \setcounter{equation}{18}&#10; \begin{equation}\label{eq:DataFusionFunction}&#10;        DataFusion:&#10;        \left[&#10;        \begin{aligned}&#10;            &amp;InformationSource_1 \times\\&#10;            &amp;InformationSource_2 \times\\&#10;            &amp;\times\dots\times\\&#10;            &amp;InformationSource_l \times\\&#10;            &amp;SensorFusion(\dots)\times\\&#10;            &amp;Weather(\dots)\\&#10;            &amp;position\times\\&#10;            &amp;\textit{fixed time }t_{fix}\times\\&#10;            &amp;dataFusionParameters&#10;        \end{aligned}&#10;        \right]&#10;        \to &#10;        \begin{cases}&#10;            Free(t_{fix})\\&#10;            Occupied(t_{fix})\\&#10;            Restricted(t_{fix})\\&#10;            Uncertain(t_{fix})&#10;        \end{cases}&#10;    \end{equation}&#10;&#10;&#10;&#10;\end{document}"/>
  <p:tag name="IGUANATEXSIZE" val="20"/>
  <p:tag name="IGUANATEXCURSOR" val="4056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17</TotalTime>
  <Words>1531</Words>
  <Application>Microsoft Office PowerPoint</Application>
  <PresentationFormat>On-screen Show (4:3)</PresentationFormat>
  <Paragraphs>372</Paragraphs>
  <Slides>24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9" baseType="lpstr">
      <vt:lpstr>Arial</vt:lpstr>
      <vt:lpstr>Arial monospaced for SAP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Problems in Detect &amp; Avoid:   Explained as a story  Incremental problem definition</vt:lpstr>
      <vt:lpstr>PowerPoint Presentation</vt:lpstr>
      <vt:lpstr>How to get to the fine restaurant ?</vt:lpstr>
      <vt:lpstr>No problem, I know a map of my surroundings</vt:lpstr>
      <vt:lpstr>Forget your map, know the restaurant location</vt:lpstr>
      <vt:lpstr>I get to the first intersection, now what ?</vt:lpstr>
      <vt:lpstr>Look around, get know to your surroundings</vt:lpstr>
      <vt:lpstr>Walk a little more, get closer to the Restaurant</vt:lpstr>
      <vt:lpstr>Now Gentleman can see the Restaurant</vt:lpstr>
      <vt:lpstr>Enjoy a Pint</vt:lpstr>
      <vt:lpstr>You are NOT alone on the streets !</vt:lpstr>
      <vt:lpstr>Multiple source of information – Data Fusion</vt:lpstr>
      <vt:lpstr>Vigilantes &amp; Grannies – Static restriction areas</vt:lpstr>
      <vt:lpstr>Try to avoid static restrictions areas ! </vt:lpstr>
      <vt:lpstr>How about weather ?</vt:lpstr>
      <vt:lpstr>Rather get caught, than catching cold …</vt:lpstr>
      <vt:lpstr>Stick to the rules !</vt:lpstr>
      <vt:lpstr>Formal problem specification                         1/2</vt:lpstr>
      <vt:lpstr>Formal problem specification                         2/2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17</cp:revision>
  <cp:lastPrinted>2015-07-29T21:30:37Z</cp:lastPrinted>
  <dcterms:created xsi:type="dcterms:W3CDTF">2017-09-21T08:49:16Z</dcterms:created>
  <dcterms:modified xsi:type="dcterms:W3CDTF">2019-02-26T17:06:00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